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45" r:id="rId34"/>
    <p:sldId id="364" r:id="rId35"/>
    <p:sldId id="368"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7273" autoAdjust="0"/>
    <p:restoredTop sz="95948" autoAdjust="0"/>
  </p:normalViewPr>
  <p:slideViewPr>
    <p:cSldViewPr snapToGrid="0">
      <p:cViewPr varScale="1">
        <p:scale>
          <a:sx n="41" d="100"/>
          <a:sy n="41" d="100"/>
        </p:scale>
        <p:origin x="30" y="1272"/>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11/29/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9/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9/2018 3:0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4214193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1420208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1/29/2018 3:0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11/29/2018</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slideLayout" Target="../slideLayouts/slideLayout70.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11/29/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6920" y="1550433"/>
            <a:ext cx="11925080" cy="2886944"/>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their backup and recovery of their solutions, not just individual components. They need a strategy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ant to insure they have the right breadth and depth of continuity protection. In the case of a lights-out event, they want to be able to control how the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65125"/>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 Hyper-V VMs to Azure Architecture&#10;&#10;Recovering Hyper-V VMs to Azure Architec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Azure Site Recovery Region to Region Failover&#10;&#10;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443746"/>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Third Party Back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641922310"/>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243423"/>
            <a:ext cx="11437914" cy="4727448"/>
          </a:xfrm>
          <a:prstGeom prst="rect">
            <a:avLst/>
          </a:prstGeom>
          <a:noFill/>
        </p:spPr>
        <p:txBody>
          <a:bodyPr wrap="square" lIns="182880" tIns="146304" rIns="182880" bIns="146304" rtlCol="0">
            <a:spAutoFit/>
          </a:bodyPr>
          <a:lstStyle/>
          <a:p>
            <a:r>
              <a:rPr lang="en-US" sz="2400" dirty="0"/>
              <a:t>In this whiteboard design session, you will work in a group to design a solution using Azure business continuity and disaster recovery (BCDR) technologies. Your solution will consider three different types of environments. The first will consist of on-premises VMs running applications that will be migrated to Azure IaaS. Next, Azure IaaS applications that need to be failed over from either on-premises to Azure, or between two Azure Regions. Finally, the use of automated failover technologies built into Azure PaaS services, App Service, and SQL Database will be used for PaaS applications.</a:t>
            </a:r>
          </a:p>
          <a:p>
            <a:endParaRPr lang="en-US" sz="2400" dirty="0"/>
          </a:p>
          <a:p>
            <a:r>
              <a:rPr lang="en-US" sz="2400" dirty="0"/>
              <a:t>At the end of this whiteboard design session, you will be better able to design a solution that leverages various Azure technologies together to build a complex and robust IaaS BCDR plan.</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dirty="0"/>
              <a:t>Disaster Recovery</a:t>
            </a:r>
          </a:p>
          <a:p>
            <a:pPr lvl="2"/>
            <a:r>
              <a:rPr lang="en-US" sz="2800" dirty="0"/>
              <a:t>Azure Site Recovery will be the primary BCDR Servers that is used for DR by CI.</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dirty="0"/>
              <a:t>Solution Overview</a:t>
            </a:r>
          </a:p>
          <a:p>
            <a:pPr lvl="1"/>
            <a:r>
              <a:rPr lang="en-US" sz="2800" dirty="0"/>
              <a:t>Azure Site Recovery will be used to migrate the VMs to Azure.</a:t>
            </a:r>
          </a:p>
          <a:p>
            <a:endParaRPr lang="en-US" sz="2800" dirty="0"/>
          </a:p>
          <a:p>
            <a:pPr marL="0" indent="0">
              <a:buNone/>
            </a:pPr>
            <a:r>
              <a:rPr lang="en-US" sz="3600" dirty="0"/>
              <a:t>DR Implementation</a:t>
            </a:r>
          </a:p>
          <a:p>
            <a:pPr lvl="1"/>
            <a:r>
              <a:rPr lang="en-US" sz="2800" dirty="0"/>
              <a:t>Once VMs are in Azure IaaS, they will be setup for Azure Region to Region failover using ASR.</a:t>
            </a:r>
          </a:p>
          <a:p>
            <a:endParaRPr lang="en-US" sz="2800" dirty="0"/>
          </a:p>
          <a:p>
            <a:pPr marL="0" indent="0">
              <a:buNone/>
            </a:pPr>
            <a:r>
              <a:rPr lang="en-US" sz="3600"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656933"/>
          </a:xfrm>
        </p:spPr>
        <p:txBody>
          <a:bodyPr/>
          <a:lstStyle/>
          <a:p>
            <a:pPr marL="0" indent="0">
              <a:buNone/>
            </a:pPr>
            <a:r>
              <a:rPr lang="en-US" sz="3600" dirty="0"/>
              <a:t>Solution Overview</a:t>
            </a:r>
          </a:p>
          <a:p>
            <a:pPr lvl="1"/>
            <a:r>
              <a:rPr lang="en-US" sz="2800" dirty="0"/>
              <a:t>Azure IaaS</a:t>
            </a:r>
          </a:p>
          <a:p>
            <a:pPr lvl="1"/>
            <a:r>
              <a:rPr lang="en-US" sz="2800" dirty="0"/>
              <a:t>Traffic Manager</a:t>
            </a:r>
          </a:p>
          <a:p>
            <a:pPr lvl="1"/>
            <a:r>
              <a:rPr lang="en-US" sz="2800" dirty="0"/>
              <a:t>ASR will be used to migrate the VMs to Azure and protect Region to Region.</a:t>
            </a:r>
          </a:p>
          <a:p>
            <a:pPr lvl="1"/>
            <a:r>
              <a:rPr lang="en-US" sz="2800" dirty="0"/>
              <a:t>For Applications remaining on-premises ASR will be used as a DR target with a failover and failback to Hyper-V.</a:t>
            </a:r>
          </a:p>
          <a:p>
            <a:endParaRPr lang="en-US" sz="2800" dirty="0"/>
          </a:p>
          <a:p>
            <a:pPr marL="0" indent="0">
              <a:buNone/>
            </a:pPr>
            <a:r>
              <a:rPr lang="en-US" sz="3600"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dirty="0"/>
              <a:t>Region to Region Failover Implementation:</a:t>
            </a:r>
          </a:p>
          <a:p>
            <a:pPr lvl="1"/>
            <a:r>
              <a:rPr lang="en-US" sz="2800" dirty="0"/>
              <a:t>Migration to Azure be completed using a combination of Azure Site Recovery and SQL Always 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 click failovers in both direction and won’t involve any manual steps.</a:t>
            </a:r>
          </a:p>
          <a:p>
            <a:pPr marL="0" indent="0">
              <a:buNone/>
            </a:pPr>
            <a:r>
              <a:rPr lang="en-US" sz="3600" dirty="0"/>
              <a:t>IaaS Configurations</a:t>
            </a:r>
          </a:p>
          <a:p>
            <a:pPr lvl="1"/>
            <a:r>
              <a:rPr lang="en-US" sz="2400" dirty="0"/>
              <a:t>Managed Disks, Availability Set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dirty="0"/>
              <a:t>Traffic Manager</a:t>
            </a:r>
          </a:p>
          <a:p>
            <a:pPr lvl="1"/>
            <a:r>
              <a:rPr lang="en-US" sz="2400" dirty="0"/>
              <a:t>Priority traffic-routing method</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descr="Enterprise Applications&#10;&#10;Diagram of the HA &amp; BCDR solution: Enterprise Applications preferred solution.&#10;&#10;Two VNETs are shown connected to each other using a VNET Peering.  Each of these VNETs are located in different Azure Regions.  There are three subnets for each of these networks.  WEB, DATA, AD.  There are two WEB VMs, two SQL VMS and one Domain Controller VM in the Primary Region.  In the Secondary Region there are two SQL VMs and two WEB VMs with red cross marks through them showing that they are offline.&#10;&#10;There is a on-premises location connected to the primary region using ExpressRoute.  A cloud representing the internet points to a traffic manager which is in front of both regions and connected to WEB VMs for the applciation.&#10;">
            <a:extLst>
              <a:ext uri="{FF2B5EF4-FFF2-40B4-BE49-F238E27FC236}">
                <a16:creationId xmlns:a16="http://schemas.microsoft.com/office/drawing/2014/main" id="{CC12C14C-6C3E-4339-91B9-08C9E6F2A037}"/>
              </a:ext>
            </a:extLst>
          </p:cNvPr>
          <p:cNvGrpSpPr/>
          <p:nvPr/>
        </p:nvGrpSpPr>
        <p:grpSpPr>
          <a:xfrm>
            <a:off x="1274224" y="1428570"/>
            <a:ext cx="9986113" cy="5340559"/>
            <a:chOff x="1274224" y="1428570"/>
            <a:chExt cx="9986113" cy="5340559"/>
          </a:xfrm>
        </p:grpSpPr>
        <p:pic>
          <p:nvPicPr>
            <p:cNvPr id="11" name="Picture 10" descr="&#10;Diagram of the HA &amp; BCDR solution: Enterprise Applications preferred solution.&#10;&#10;At this time, we are unable to capture all of the information in the diagram. Future versions of this course should address this.&#10;" title="Azure Region to Region preferred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4224" y="1428570"/>
              <a:ext cx="9986113" cy="5340559"/>
            </a:xfrm>
            <a:prstGeom prst="rect">
              <a:avLst/>
            </a:prstGeom>
          </p:spPr>
        </p:pic>
        <p:pic>
          <p:nvPicPr>
            <p:cNvPr id="3" name="Picture 2">
              <a:extLst>
                <a:ext uri="{FF2B5EF4-FFF2-40B4-BE49-F238E27FC236}">
                  <a16:creationId xmlns:a16="http://schemas.microsoft.com/office/drawing/2014/main" id="{B377D7FB-99CB-4DF4-B746-33605AD356C3}"/>
                </a:ext>
              </a:extLst>
            </p:cNvPr>
            <p:cNvPicPr>
              <a:picLocks noChangeAspect="1"/>
            </p:cNvPicPr>
            <p:nvPr/>
          </p:nvPicPr>
          <p:blipFill>
            <a:blip r:embed="rId4"/>
            <a:stretch>
              <a:fillRect/>
            </a:stretch>
          </p:blipFill>
          <p:spPr>
            <a:xfrm>
              <a:off x="4897287" y="3959994"/>
              <a:ext cx="1357210" cy="258890"/>
            </a:xfrm>
            <a:prstGeom prst="rect">
              <a:avLst/>
            </a:prstGeom>
          </p:spPr>
        </p:pic>
      </p:grpSp>
    </p:spTree>
    <p:extLst>
      <p:ext uri="{BB962C8B-B14F-4D97-AF65-F5344CB8AC3E}">
        <p14:creationId xmlns:p14="http://schemas.microsoft.com/office/powerpoint/2010/main" val="122608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p:cNvGrpSpPr/>
          <p:nvPr/>
        </p:nvGrpSpPr>
        <p:grpSpPr>
          <a:xfrm>
            <a:off x="4975859" y="3779520"/>
            <a:ext cx="1002031" cy="640957"/>
            <a:chOff x="3200399" y="2007513"/>
            <a:chExt cx="1047136" cy="600164"/>
          </a:xfrm>
        </p:grpSpPr>
        <p:sp>
          <p:nvSpPr>
            <p:cNvPr id="5" name="Rectangle 4"/>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3274141" y="2007513"/>
              <a:ext cx="899651"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Express Route</a:t>
              </a:r>
            </a:p>
          </p:txBody>
        </p:sp>
      </p:grpSp>
      <p:grpSp>
        <p:nvGrpSpPr>
          <p:cNvPr id="7" name="Group 6"/>
          <p:cNvGrpSpPr/>
          <p:nvPr/>
        </p:nvGrpSpPr>
        <p:grpSpPr>
          <a:xfrm>
            <a:off x="7086601" y="3820313"/>
            <a:ext cx="1213056" cy="600164"/>
            <a:chOff x="3016428" y="2021196"/>
            <a:chExt cx="1415078" cy="592880"/>
          </a:xfrm>
        </p:grpSpPr>
        <p:sp>
          <p:nvSpPr>
            <p:cNvPr id="8" name="Rectangle 7"/>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016428" y="2021196"/>
              <a:ext cx="1415078" cy="592880"/>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SQL Cluster BCDRAOG</a:t>
              </a:r>
            </a:p>
          </p:txBody>
        </p:sp>
      </p:grpSp>
      <p:pic>
        <p:nvPicPr>
          <p:cNvPr id="10" name="Picture 9" descr="Diagram of the On-premises to Azure solution. &#10;&#10;Diagram of the HA &amp; BCDR solution: Enterprise Applications preferred solution.&#10;&#10;A VNet in the primary region is shown connected to the on-premises network via a ExpressRoute. There are three subnets for each of these networks.  WEB, DATA, AD.  There are two WEB VMs, two SQL VMS and one Domain Controller VM in the Primary Region.  In the on-premises network theere &#10;&#10;A cloud representing the internet points to a traffic manager which is in front of both regions and connected to WEB VMs for the applciation. n the Secondary Region there are two SQL VMs and two WEB VMs with red cross marks through them showing that they are offline.&#10;&#10;&#10;&#10;" title="On-premises to Azure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578" y="1383994"/>
            <a:ext cx="9547163" cy="5432007"/>
          </a:xfrm>
          <a:prstGeom prst="rect">
            <a:avLst/>
          </a:prstGeom>
        </p:spPr>
      </p:pic>
      <p:sp>
        <p:nvSpPr>
          <p:cNvPr id="13" name="TextBox 12">
            <a:extLst>
              <a:ext uri="{FF2B5EF4-FFF2-40B4-BE49-F238E27FC236}">
                <a16:creationId xmlns:a16="http://schemas.microsoft.com/office/drawing/2014/main" id="{8BC281F4-205C-4DBB-9745-A357FF5FA53D}"/>
              </a:ext>
            </a:extLst>
          </p:cNvPr>
          <p:cNvSpPr txBox="1"/>
          <p:nvPr/>
        </p:nvSpPr>
        <p:spPr>
          <a:xfrm>
            <a:off x="6857802"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ATA 192.168.2.0/24</a:t>
            </a:r>
          </a:p>
        </p:txBody>
      </p:sp>
      <p:sp>
        <p:nvSpPr>
          <p:cNvPr id="14" name="TextBox 13">
            <a:extLst>
              <a:ext uri="{FF2B5EF4-FFF2-40B4-BE49-F238E27FC236}">
                <a16:creationId xmlns:a16="http://schemas.microsoft.com/office/drawing/2014/main" id="{4C5188B5-2D69-40DB-82DE-EC743EEF5D50}"/>
              </a:ext>
            </a:extLst>
          </p:cNvPr>
          <p:cNvSpPr txBox="1"/>
          <p:nvPr/>
        </p:nvSpPr>
        <p:spPr>
          <a:xfrm>
            <a:off x="9010575"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AD 192.168.3.0/24</a:t>
            </a:r>
          </a:p>
        </p:txBody>
      </p:sp>
      <p:sp>
        <p:nvSpPr>
          <p:cNvPr id="15" name="TextBox 14">
            <a:extLst>
              <a:ext uri="{FF2B5EF4-FFF2-40B4-BE49-F238E27FC236}">
                <a16:creationId xmlns:a16="http://schemas.microsoft.com/office/drawing/2014/main" id="{17015189-C6E0-4043-B9AD-5C0FD19FDF05}"/>
              </a:ext>
            </a:extLst>
          </p:cNvPr>
          <p:cNvSpPr txBox="1"/>
          <p:nvPr/>
        </p:nvSpPr>
        <p:spPr>
          <a:xfrm>
            <a:off x="9451650" y="5572311"/>
            <a:ext cx="423870"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C1</a:t>
            </a:r>
          </a:p>
        </p:txBody>
      </p:sp>
    </p:spTree>
    <p:extLst>
      <p:ext uri="{BB962C8B-B14F-4D97-AF65-F5344CB8AC3E}">
        <p14:creationId xmlns:p14="http://schemas.microsoft.com/office/powerpoint/2010/main" val="1035711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dirty="0"/>
              <a:t>Solution Overview</a:t>
            </a:r>
          </a:p>
          <a:p>
            <a:pPr lvl="1"/>
            <a:r>
              <a:rPr lang="en-US" sz="2800" dirty="0"/>
              <a:t>Azure App Services</a:t>
            </a:r>
          </a:p>
          <a:p>
            <a:pPr lvl="1"/>
            <a:r>
              <a:rPr lang="en-US" sz="2800" dirty="0"/>
              <a:t>SQL Database</a:t>
            </a:r>
          </a:p>
          <a:p>
            <a:pPr lvl="1"/>
            <a:r>
              <a:rPr lang="en-US" sz="2800" dirty="0"/>
              <a:t>Traffic Manager</a:t>
            </a:r>
          </a:p>
          <a:p>
            <a:pPr marL="0" indent="0">
              <a:buNone/>
            </a:pPr>
            <a:r>
              <a:rPr lang="en-US" sz="3600"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dirty="0"/>
              <a:t>SQL Database</a:t>
            </a:r>
          </a:p>
          <a:p>
            <a:pPr lvl="1"/>
            <a:r>
              <a:rPr lang="en-US" sz="2800" dirty="0">
                <a:latin typeface="+mn-lt"/>
              </a:rPr>
              <a:t>The SQL Database will be implemented using Failover Groups.</a:t>
            </a:r>
          </a:p>
          <a:p>
            <a:pPr lvl="1"/>
            <a:r>
              <a:rPr lang="en-US" sz="2800" dirty="0">
                <a:latin typeface="+mn-lt"/>
              </a:rPr>
              <a:t>Allows for geo-replication with a single listener name like the SQL Always 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dirty="0"/>
              <a:t>Azure 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Two azure Regions are shown with Azure Web Apps and the App Service Plans.  An Azure SQL Server and SQL Database is shown in each region with a SQL Database Failover Group.  There is a cloud representing the internet with an arrow pointing to an Traffic Manager which distributes the traffic to the Web App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Using ASR CI will be able to handle all of their own DR.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Azure has support for third party backup providers through the Azure Marketplace. It’s possible to both backup VMs using these tools by deploying them to Azure IaaS or by extending the backup infrastructure to use the Azure cloud as an archive targe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providing services globally from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 and business and regulatory pressure for lack of BCDR implementations</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3516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46689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R capabilities for this implementation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 to 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281172"/>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se applications primarily service their external customers and the mobile agents. These include applications for consumers and their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Need to understand how SQL Database should be setup along with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12</Words>
  <Application>Microsoft Office PowerPoint</Application>
  <PresentationFormat>Widescreen</PresentationFormat>
  <Paragraphs>299</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30T03:19:18Z</dcterms:created>
  <dcterms:modified xsi:type="dcterms:W3CDTF">2018-11-29T23:0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